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1303" autoAdjust="0"/>
    <p:restoredTop sz="94660"/>
  </p:normalViewPr>
  <p:slideViewPr>
    <p:cSldViewPr snapToGrid="0">
      <p:cViewPr varScale="1">
        <p:scale>
          <a:sx n="46" d="100"/>
          <a:sy n="46" d="100"/>
        </p:scale>
        <p:origin x="200" y="18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
            <a:extLst>
              <a:ext uri="{FF2B5EF4-FFF2-40B4-BE49-F238E27FC236}">
                <a16:creationId xmlns:a16="http://schemas.microsoft.com/office/drawing/2014/main" id="{2C537473-8951-644C-8EAC-E5F683C77414}"/>
              </a:ext>
            </a:extLst>
          </p:cNvPr>
          <p:cNvSpPr>
            <a:spLocks noChangeArrowheads="1"/>
          </p:cNvSpPr>
          <p:nvPr/>
        </p:nvSpPr>
        <p:spPr bwMode="auto">
          <a:xfrm>
            <a:off x="0" y="2438401"/>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chemeClr val="tx1"/>
                </a:solidFill>
                <a:effectLst/>
                <a:latin typeface="Open Sans"/>
              </a:rPr>
              <a:t>Cloud Feasibility Assessment – </a:t>
            </a:r>
            <a:r>
              <a:rPr kumimoji="0" lang="en-US" altLang="en-US" sz="2000" b="0" i="0" u="none" strike="noStrike" cap="none" normalizeH="0" baseline="0">
                <a:ln>
                  <a:noFill/>
                </a:ln>
                <a:solidFill>
                  <a:srgbClr val="84BA23"/>
                </a:solidFill>
                <a:effectLst/>
                <a:latin typeface="Open Sans"/>
              </a:rPr>
              <a:t>Benefits of Transitioning to Cloud</a:t>
            </a:r>
            <a:br>
              <a:rPr kumimoji="0" lang="en-US" altLang="en-US" sz="2000" b="0" i="0" u="none" strike="noStrike" cap="none" normalizeH="0" baseline="0">
                <a:ln>
                  <a:noFill/>
                </a:ln>
                <a:solidFill>
                  <a:srgbClr val="84BA23"/>
                </a:solidFill>
                <a:effectLst/>
                <a:latin typeface="Open Sans"/>
              </a:rPr>
            </a:br>
            <a:r>
              <a:rPr kumimoji="0" lang="en-US" altLang="en-US" sz="1400" b="0" i="0" u="none" strike="noStrike" cap="none" normalizeH="0" baseline="0">
                <a:ln>
                  <a:noFill/>
                </a:ln>
                <a:solidFill>
                  <a:srgbClr val="565656"/>
                </a:solidFill>
                <a:effectLst/>
                <a:latin typeface="Open Sans"/>
              </a:rPr>
              <a:t>A transition to Cloud would provide the University with the following direct and indirect benefit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84BA23"/>
                </a:solidFill>
                <a:effectLst/>
                <a:latin typeface="Segoe UI Semilight" panose="020B0402040204020203"/>
              </a:rPr>
              <a:t>DIRECT BENEFIT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Segoe UI Semilight" panose="020B0402040204020203"/>
              </a:rPr>
              <a:t>CLOUD CAPABILITIES &amp; FEATURE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84BA23"/>
                </a:solidFill>
                <a:effectLst/>
                <a:latin typeface="Open Sans"/>
              </a:rPr>
              <a:t>Scalability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Movement of workloads to Cloud will allow the University to instantly scale up or down in line with student and researcher demands. This will allow the University to maintain quality services as it grows and account for volatile or seasonal application usage (e.g. peak enrolment period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84BA23"/>
                </a:solidFill>
                <a:effectLst/>
                <a:latin typeface="Open Sans"/>
              </a:rPr>
              <a:t>Self Service &amp; Self Provisioning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A Cloud environment will allow for greater adoption of self-service and provisioning, particularly in the research space. Graphical user interfaces and Cloud tools can be set-up to allow users to run their own workloads and have visibility of the costs and metrics associated.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42AF28"/>
                </a:solidFill>
                <a:effectLst/>
                <a:latin typeface="Open Sans"/>
              </a:rPr>
              <a:t>Reduced Environmental Impact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The University will not need to disrupt it’s natural environment to build a new Data Centre and will contribute to lower greenhouse gas emissions through use of more efficient facilities offered by public Cloud provider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42AF28"/>
                </a:solidFill>
                <a:effectLst/>
                <a:latin typeface="Open Sans"/>
              </a:rPr>
              <a:t>Creation of New Revenue Stream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The University can capture additional revenue streams by providing researchers with Cloud services through a portal that is managed by IT. As a result, researchers will no longer need to procure their own hardware to run research workloads and the University will be able to capture this expenditure.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84BA23"/>
                </a:solidFill>
                <a:effectLst/>
                <a:latin typeface="Open Sans"/>
              </a:rPr>
              <a:t>High Availability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Infrastructure will be highly available in the Cloud with fewer outages experienced and less downtime. Applications will exist across a number of disparate Cloud Data Centres and can auto recover or terminate and restart if performance drops enabling continued quality of service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84BA23"/>
                </a:solidFill>
                <a:effectLst/>
                <a:latin typeface="Open Sans"/>
              </a:rPr>
              <a:t>Flexibility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The University will have access to the full range of programming models, operating systems, databases and architecture with which they are familiar as well as new services available through the market place. The University will not be locked into infrastructure purchases and will have more freedom of choice.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42AF28"/>
                </a:solidFill>
                <a:effectLst/>
                <a:latin typeface="Open Sans"/>
              </a:rPr>
              <a:t>Focus on Value Adding Activitie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The University can free up its resources to focus on more growth and transformation activities. This will give staff more time to uplift the environment, develop new service offerings and improve the student and researcher experience rather than keepingthelightson.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42AF28"/>
                </a:solidFill>
                <a:effectLst/>
                <a:latin typeface="Open Sans"/>
              </a:rPr>
              <a:t>Improved Brand Perception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Movement to a full Cloud environment will enhance the University’s brand and reputation as a forward- thinking University. In addition, the Cloud Platform can become a selling point to attract technology students and researchers to collaborate.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84BA23"/>
                </a:solidFill>
                <a:effectLst/>
                <a:latin typeface="Open Sans"/>
              </a:rPr>
              <a:t>Automation and Ease of Management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Platform and application automation will enable greater ease of management across patching, security, provisioning, testing, deployment and logging. These operational areas become integrated into the service that the University consumes allowing quicker deployment of service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84BA23"/>
                </a:solidFill>
                <a:effectLst/>
                <a:latin typeface="Open Sans"/>
              </a:rPr>
              <a:t>Greater Security Control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Cloud environments keep track of all changes made through logging and can make use of the latest firewalls and security features to reduce the likelihood and impact of cyber attacks and internal mistake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42AF28"/>
                </a:solidFill>
                <a:effectLst/>
                <a:latin typeface="Open Sans"/>
              </a:rPr>
              <a:t>Greater Agility and Time to Market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Ease of development and provisioning in the Cloud will enable the University to quickly spin up new ideas and test them. This way of operation lends itself to greater agility through learning fast and taking ideas to market or further iterating upon them.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42AF28"/>
                </a:solidFill>
                <a:effectLst/>
                <a:latin typeface="Open Sans"/>
              </a:rPr>
              <a:t>Cost Avoidance and Cost Saving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a:rPr>
              <a:t>Through not building a Data Centre, the University will achieve upfront cost avoidance. Whilst this will be partially offset by the need to increase investment in Cloud migration, it will drive a reduction in costs long- term through a reduction in IT overhead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2050" name="Picture 2" descr="page1image4144601744">
            <a:extLst>
              <a:ext uri="{FF2B5EF4-FFF2-40B4-BE49-F238E27FC236}">
                <a16:creationId xmlns:a16="http://schemas.microsoft.com/office/drawing/2014/main" id="{A288B472-DE20-AB4B-93E4-06077AE326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00" y="639763"/>
            <a:ext cx="11366500" cy="5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98</TotalTime>
  <Words>605</Words>
  <Application>Microsoft Macintosh PowerPoint</Application>
  <PresentationFormat>Widescreen</PresentationFormat>
  <Paragraphs>28</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Open Sans</vt:lpstr>
      <vt:lpstr>Segoe UI Semilight</vt:lpstr>
      <vt:lpstr>Verdana</vt:lpstr>
      <vt:lpstr>Deloitte_4_3_Onscreen</vt:lpstr>
      <vt:lpstr>think-cell Slide</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k yashoratna</cp:lastModifiedBy>
  <cp:revision>20</cp:revision>
  <dcterms:created xsi:type="dcterms:W3CDTF">2019-03-31T19:26:34Z</dcterms:created>
  <dcterms:modified xsi:type="dcterms:W3CDTF">2020-04-26T10:59:39Z</dcterms:modified>
</cp:coreProperties>
</file>